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9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49-4E73-8449-3F0DA1B316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49-4E73-8449-3F0DA1B316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49-4E73-8449-3F0DA1B316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D2F3B2-5A05-DBE6-825E-B19938C3E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6635904-C455-F4E0-B396-DD1B206F5D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635904-C455-F4E0-B396-DD1B206F5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C01F94A3-A055-8B46-D871-B8094CF1A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/ Stack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8F046ED-82B1-3FF7-F5FA-E62EDA384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D23A5FC-DE90-F4E4-A44A-D6480CE8C6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864550B-3181-1A87-7E9D-84DFF2854F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EB59711-E1BB-5ACB-97BA-A415B716EC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24F2696C-8E68-D6B1-2E01-55E2B203945F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6">
            <a:extLst>
              <a:ext uri="{FF2B5EF4-FFF2-40B4-BE49-F238E27FC236}">
                <a16:creationId xmlns:a16="http://schemas.microsoft.com/office/drawing/2014/main" id="{1A8E361B-5BC2-ABFE-6AF2-FFE2A8FAFF13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04836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/ 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75</cp:revision>
  <dcterms:created xsi:type="dcterms:W3CDTF">2025-07-09T10:57:17Z</dcterms:created>
  <dcterms:modified xsi:type="dcterms:W3CDTF">2025-10-22T10:11:01Z</dcterms:modified>
  <cp:category/>
</cp:coreProperties>
</file>